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0</c:v>
                </c:pt>
                <c:pt idx="1">
                  <c:v>445</c:v>
                </c:pt>
                <c:pt idx="2">
                  <c:v>490</c:v>
                </c:pt>
                <c:pt idx="3">
                  <c:v>535</c:v>
                </c:pt>
                <c:pt idx="4">
                  <c:v>580</c:v>
                </c:pt>
                <c:pt idx="5">
                  <c:v>625</c:v>
                </c:pt>
                <c:pt idx="6">
                  <c:v>670</c:v>
                </c:pt>
                <c:pt idx="7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4-4371-8836-7A5F60140C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0</c:v>
                </c:pt>
                <c:pt idx="1">
                  <c:v>395</c:v>
                </c:pt>
                <c:pt idx="2">
                  <c:v>440</c:v>
                </c:pt>
                <c:pt idx="3">
                  <c:v>485</c:v>
                </c:pt>
                <c:pt idx="4">
                  <c:v>530</c:v>
                </c:pt>
                <c:pt idx="5">
                  <c:v>575</c:v>
                </c:pt>
                <c:pt idx="6">
                  <c:v>620</c:v>
                </c:pt>
                <c:pt idx="7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4-4371-8836-7A5F60140C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0</c:v>
                </c:pt>
                <c:pt idx="1">
                  <c:v>295</c:v>
                </c:pt>
                <c:pt idx="2">
                  <c:v>340</c:v>
                </c:pt>
                <c:pt idx="3">
                  <c:v>385</c:v>
                </c:pt>
                <c:pt idx="4">
                  <c:v>430</c:v>
                </c:pt>
                <c:pt idx="5">
                  <c:v>475</c:v>
                </c:pt>
                <c:pt idx="6">
                  <c:v>520</c:v>
                </c:pt>
                <c:pt idx="7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84-4371-8836-7A5F60140C9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xt 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B84-4371-8836-7A5F60140C90}"/>
              </c:ext>
            </c:extLst>
          </c:dPt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0</c:v>
                </c:pt>
                <c:pt idx="1">
                  <c:v>95</c:v>
                </c:pt>
                <c:pt idx="2">
                  <c:v>140</c:v>
                </c:pt>
                <c:pt idx="3">
                  <c:v>185</c:v>
                </c:pt>
                <c:pt idx="4">
                  <c:v>230</c:v>
                </c:pt>
                <c:pt idx="5">
                  <c:v>275</c:v>
                </c:pt>
                <c:pt idx="6">
                  <c:v>320</c:v>
                </c:pt>
                <c:pt idx="7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84-4371-8836-7A5F60140C9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ext 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20</c:v>
                </c:pt>
                <c:pt idx="1">
                  <c:v>65</c:v>
                </c:pt>
                <c:pt idx="2">
                  <c:v>110</c:v>
                </c:pt>
                <c:pt idx="3">
                  <c:v>155</c:v>
                </c:pt>
                <c:pt idx="4">
                  <c:v>200</c:v>
                </c:pt>
                <c:pt idx="5">
                  <c:v>245</c:v>
                </c:pt>
                <c:pt idx="6">
                  <c:v>290</c:v>
                </c:pt>
                <c:pt idx="7">
                  <c:v>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84-4371-8836-7A5F60140C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1912975"/>
        <c:axId val="231295167"/>
      </c:barChart>
      <c:catAx>
        <c:axId val="106191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295167"/>
        <c:crosses val="autoZero"/>
        <c:auto val="1"/>
        <c:lblAlgn val="ctr"/>
        <c:lblOffset val="100"/>
        <c:noMultiLvlLbl val="0"/>
      </c:catAx>
      <c:valAx>
        <c:axId val="23129516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06191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127948024537581"/>
          <c:y val="0.93406517447110005"/>
          <c:w val="0.64725814801185111"/>
          <c:h val="6.5934825528899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002A-E7E2-968E-B65C-9B7AE92B2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EA4A3C-ABA1-5B98-39EB-53AE095CA5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4A3C-ABA1-5B98-39EB-53AE095CA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D88848-8308-9535-05B9-112B3F1E1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68956B-055F-3635-6157-D7FC26E8CC1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E64282-CC43-68DF-0BAF-46B8BCD29EB6}"/>
              </a:ext>
            </a:extLst>
          </p:cNvPr>
          <p:cNvGraphicFramePr/>
          <p:nvPr/>
        </p:nvGraphicFramePr>
        <p:xfrm>
          <a:off x="419099" y="1559532"/>
          <a:ext cx="10679260" cy="437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51840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1</cp:revision>
  <dcterms:created xsi:type="dcterms:W3CDTF">2021-03-31T02:49:57Z</dcterms:created>
  <dcterms:modified xsi:type="dcterms:W3CDTF">2025-10-16T11:30:48Z</dcterms:modified>
  <cp:category/>
</cp:coreProperties>
</file>